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9"/>
  </p:notesMasterIdLst>
  <p:handoutMasterIdLst>
    <p:handoutMasterId r:id="rId10"/>
  </p:handoutMasterIdLst>
  <p:sldIdLst>
    <p:sldId id="653" r:id="rId5"/>
    <p:sldId id="655" r:id="rId6"/>
    <p:sldId id="656" r:id="rId7"/>
    <p:sldId id="657" r:id="rId8"/>
  </p:sldIdLst>
  <p:sldSz cx="9906000" cy="6858000" type="A4"/>
  <p:notesSz cx="6800850" cy="9932988"/>
  <p:custDataLst>
    <p:tags r:id="rId11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17" userDrawn="1">
          <p15:clr>
            <a:srgbClr val="A4A3A4"/>
          </p15:clr>
        </p15:guide>
        <p15:guide id="8" orient="horz" pos="255" userDrawn="1">
          <p15:clr>
            <a:srgbClr val="A4A3A4"/>
          </p15:clr>
        </p15:guide>
        <p15:guide id="23" pos="3120">
          <p15:clr>
            <a:srgbClr val="A4A3A4"/>
          </p15:clr>
        </p15:guide>
        <p15:guide id="24" orient="horz" pos="709" userDrawn="1">
          <p15:clr>
            <a:srgbClr val="A4A3A4"/>
          </p15:clr>
        </p15:guide>
        <p15:guide id="34" pos="6023" userDrawn="1">
          <p15:clr>
            <a:srgbClr val="A4A3A4"/>
          </p15:clr>
        </p15:guide>
        <p15:guide id="35" pos="5501" userDrawn="1">
          <p15:clr>
            <a:srgbClr val="A4A3A4"/>
          </p15:clr>
        </p15:guide>
        <p15:guide id="36" pos="1827" userDrawn="1">
          <p15:clr>
            <a:srgbClr val="A4A3A4"/>
          </p15:clr>
        </p15:guide>
        <p15:guide id="37" orient="horz" pos="1865" userDrawn="1">
          <p15:clr>
            <a:srgbClr val="A4A3A4"/>
          </p15:clr>
        </p15:guide>
        <p15:guide id="38" orient="horz" pos="3748" userDrawn="1">
          <p15:clr>
            <a:srgbClr val="A4A3A4"/>
          </p15:clr>
        </p15:guide>
        <p15:guide id="39" orient="horz" pos="2047" userDrawn="1">
          <p15:clr>
            <a:srgbClr val="A4A3A4"/>
          </p15:clr>
        </p15:guide>
        <p15:guide id="40" orient="horz" pos="2024" userDrawn="1">
          <p15:clr>
            <a:srgbClr val="A4A3A4"/>
          </p15:clr>
        </p15:guide>
        <p15:guide id="41" pos="3075" userDrawn="1">
          <p15:clr>
            <a:srgbClr val="A4A3A4"/>
          </p15:clr>
        </p15:guide>
        <p15:guide id="42" pos="31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737D"/>
    <a:srgbClr val="FFE2CB"/>
    <a:srgbClr val="D0CDC8"/>
    <a:srgbClr val="FFC597"/>
    <a:srgbClr val="FFA863"/>
    <a:srgbClr val="DDD6CF"/>
    <a:srgbClr val="FFEFE1"/>
    <a:srgbClr val="83888D"/>
    <a:srgbClr val="BFBFB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6301" autoAdjust="0"/>
  </p:normalViewPr>
  <p:slideViewPr>
    <p:cSldViewPr snapToGrid="0">
      <p:cViewPr varScale="1">
        <p:scale>
          <a:sx n="118" d="100"/>
          <a:sy n="118" d="100"/>
        </p:scale>
        <p:origin x="2008" y="192"/>
      </p:cViewPr>
      <p:guideLst>
        <p:guide pos="217"/>
        <p:guide orient="horz" pos="255"/>
        <p:guide pos="3120"/>
        <p:guide orient="horz" pos="709"/>
        <p:guide pos="6023"/>
        <p:guide pos="5501"/>
        <p:guide pos="1827"/>
        <p:guide orient="horz" pos="1865"/>
        <p:guide orient="horz" pos="3748"/>
        <p:guide orient="horz" pos="2047"/>
        <p:guide orient="horz" pos="2024"/>
        <p:guide pos="3075"/>
        <p:guide pos="3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3288" y="53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9439C0A9-3F98-4521-AD03-0AB5CA3DBE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ABB762BB-4F63-4202-8290-13E40E6847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486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0515540D-3616-4668-BE8F-8E23526B27ED}" type="datetimeFigureOut">
              <a:rPr lang="pl-PL" smtClean="0"/>
              <a:t>5.06.2025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C69E9A1E-D665-4360-8389-F7819A14B0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B4E26DF7-0619-4EAD-8294-986A18E29A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486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2FA79908-5BD6-4DB3-8D92-87B940CD7B0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558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2242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5517821D-0A16-4E70-BDAF-A24DCC0163B0}" type="datetimeFigureOut">
              <a:rPr lang="pl-PL" smtClean="0"/>
              <a:t>5.06.2025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81625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086" y="4718170"/>
            <a:ext cx="5440680" cy="4469844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2242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429AE6D1-39EB-4D2E-9C0A-FF4A449EB4E5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0399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864600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0D724B-FDB1-65ED-F3DC-3CFD15F952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CFCA590B-F67A-7AA9-13A2-AEBDBEAECB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7A77A1CB-8735-FD4A-1748-0B62709DEC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89F70668-EFE3-D23A-7274-DEED40BD1F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2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2606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C4F0D1-81B3-97C8-7B8F-7AF46538F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E5E68925-B344-78CF-CF31-45BC6D423F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EC3A0BA1-FFD9-A10F-1663-935E9AE630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6529179-1B5A-2B6A-B492-D85E42CC9C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071390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FD59A7-6D42-E568-D8E5-993E9D1120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C5B018D0-D9BA-D747-92AE-F70F068BD7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D8043E20-4EE5-410F-002C-19EABBE42A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C073F876-5554-EF24-02FC-6336FCC357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4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06943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52600" y="4725144"/>
            <a:ext cx="5472608" cy="1404000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ts val="3600"/>
              </a:lnSpc>
              <a:spcBef>
                <a:spcPts val="0"/>
              </a:spcBef>
              <a:buNone/>
              <a:defRPr sz="3200" b="0" i="0" cap="all">
                <a:solidFill>
                  <a:schemeClr val="bg1"/>
                </a:solidFill>
                <a:latin typeface="Lato Light"/>
                <a:cs typeface="Lato Ligh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347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632521" y="1556792"/>
            <a:ext cx="8640960" cy="446449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400" b="0" i="0">
                <a:latin typeface="Lato Regular"/>
                <a:cs typeface="Lato Regular"/>
              </a:defRPr>
            </a:lvl2pPr>
            <a:lvl3pPr>
              <a:defRPr sz="1200" b="0" i="0">
                <a:latin typeface="Lato Regular"/>
                <a:cs typeface="Lato Regular"/>
              </a:defRPr>
            </a:lvl3pPr>
            <a:lvl4pPr>
              <a:defRPr sz="1000" b="0" i="0">
                <a:latin typeface="Lato Regular"/>
                <a:cs typeface="Lato Regular"/>
              </a:defRPr>
            </a:lvl4pPr>
            <a:lvl5pPr>
              <a:defRPr sz="1000" b="0" i="0">
                <a:latin typeface="Lato Regular"/>
                <a:cs typeface="Lato Regular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9" name="Symbol zastępczy daty 8"/>
          <p:cNvSpPr>
            <a:spLocks noGrp="1"/>
          </p:cNvSpPr>
          <p:nvPr>
            <p:ph type="dt" sz="half" idx="10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wrap="none"/>
          <a:lstStyle>
            <a:lvl1pPr>
              <a:defRPr b="1"/>
            </a:lvl1pPr>
          </a:lstStyle>
          <a:p>
            <a:r>
              <a:rPr lang="pl-PL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891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1" y="3933056"/>
            <a:ext cx="8640960" cy="2088232"/>
          </a:xfrm>
        </p:spPr>
        <p:txBody>
          <a:bodyPr anchor="t"/>
          <a:lstStyle>
            <a:lvl1pPr algn="l">
              <a:lnSpc>
                <a:spcPts val="3500"/>
              </a:lnSpc>
              <a:defRPr sz="3300" b="0" i="0" cap="all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32521" y="2996952"/>
            <a:ext cx="8640960" cy="8640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7" name="Symbol zastępczy stopki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8" name="Symbol zastępczy numeru slajd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9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564320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32522" y="1988847"/>
            <a:ext cx="4244280" cy="4032449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200" b="0" i="0">
                <a:solidFill>
                  <a:schemeClr val="tx1"/>
                </a:solidFill>
                <a:latin typeface="Lato Regular"/>
                <a:cs typeface="Lato Regular"/>
              </a:defRPr>
            </a:lvl2pPr>
            <a:lvl3pPr>
              <a:defRPr sz="1000" b="0" i="0">
                <a:solidFill>
                  <a:schemeClr val="tx1"/>
                </a:solidFill>
                <a:latin typeface="Lato Regular"/>
                <a:cs typeface="Lato Regular"/>
              </a:defRPr>
            </a:lvl3pPr>
            <a:lvl4pPr>
              <a:defRPr sz="900" b="0" i="0">
                <a:solidFill>
                  <a:schemeClr val="tx1"/>
                </a:solidFill>
                <a:latin typeface="Lato Regular"/>
                <a:cs typeface="Lato Regular"/>
              </a:defRPr>
            </a:lvl4pPr>
            <a:lvl5pPr>
              <a:defRPr sz="900" b="0" i="0">
                <a:solidFill>
                  <a:schemeClr val="tx1"/>
                </a:solidFill>
                <a:latin typeface="Lato Regular"/>
                <a:cs typeface="Lato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29200" y="1988840"/>
            <a:ext cx="4244280" cy="4032448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200" b="0" i="0">
                <a:solidFill>
                  <a:schemeClr val="tx1"/>
                </a:solidFill>
                <a:latin typeface="Lato Regular"/>
                <a:cs typeface="Lato Regular"/>
              </a:defRPr>
            </a:lvl2pPr>
            <a:lvl3pPr>
              <a:defRPr sz="1000" b="0" i="0">
                <a:solidFill>
                  <a:schemeClr val="tx1"/>
                </a:solidFill>
                <a:latin typeface="Lato Regular"/>
                <a:cs typeface="Lato Regular"/>
              </a:defRPr>
            </a:lvl3pPr>
            <a:lvl4pPr>
              <a:defRPr sz="900" b="0" i="0">
                <a:solidFill>
                  <a:schemeClr val="tx1"/>
                </a:solidFill>
                <a:latin typeface="Lato Regular"/>
                <a:cs typeface="Lato Regular"/>
              </a:defRPr>
            </a:lvl4pPr>
            <a:lvl5pPr>
              <a:defRPr sz="900" b="0" i="0">
                <a:solidFill>
                  <a:schemeClr val="tx1"/>
                </a:solidFill>
                <a:latin typeface="Lato Regular"/>
                <a:cs typeface="Lato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12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27734727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6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815062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039152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3" y="772290"/>
            <a:ext cx="2736304" cy="928531"/>
          </a:xfrm>
        </p:spPr>
        <p:txBody>
          <a:bodyPr anchor="b" anchorCtr="0"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12839" y="772278"/>
            <a:ext cx="5760640" cy="48169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ato Black"/>
              </a:defRPr>
            </a:lvl1pPr>
            <a:lvl2pPr>
              <a:defRPr sz="1400" b="0" i="0">
                <a:solidFill>
                  <a:schemeClr val="tx1"/>
                </a:solidFill>
                <a:latin typeface="Lato Regular"/>
              </a:defRPr>
            </a:lvl2pPr>
            <a:lvl3pPr>
              <a:defRPr sz="1200" b="0" i="0">
                <a:solidFill>
                  <a:schemeClr val="tx1"/>
                </a:solidFill>
                <a:latin typeface="Lato Regular"/>
              </a:defRPr>
            </a:lvl3pPr>
            <a:lvl4pPr>
              <a:defRPr sz="1000" b="0" i="0">
                <a:solidFill>
                  <a:schemeClr val="tx1"/>
                </a:solidFill>
                <a:latin typeface="Lato Regular"/>
              </a:defRPr>
            </a:lvl4pPr>
            <a:lvl5pPr>
              <a:defRPr sz="1000" b="0" i="0">
                <a:solidFill>
                  <a:schemeClr val="tx1"/>
                </a:solidFill>
                <a:latin typeface="Lato Regular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32523" y="1700808"/>
            <a:ext cx="2736304" cy="2080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1" name="Symbol zastępczy stopki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2" name="Symbol zastępczy numeru slajd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8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237664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856664" y="5345512"/>
            <a:ext cx="4968553" cy="309134"/>
          </a:xfrm>
        </p:spPr>
        <p:txBody>
          <a:bodyPr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856664" y="404665"/>
            <a:ext cx="6202513" cy="48245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856657" y="5654646"/>
            <a:ext cx="4968552" cy="2781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10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296079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933FE388-43FA-422B-A264-E145289E0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048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933FE388-43FA-422B-A264-E145289E0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344488" y="396351"/>
            <a:ext cx="820896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dirty="0"/>
              <a:t>Kliknij, aby edytować styl wzorca tytułu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>
          <a:xfrm>
            <a:off x="8841439" y="6381329"/>
            <a:ext cx="720080" cy="144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9F689D9-A7C3-B743-B706-579CC46D27E6}" type="slidenum">
              <a:rPr lang="pl-PL" smtClean="0">
                <a:solidFill>
                  <a:srgbClr val="69737D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1856656" y="6165318"/>
            <a:ext cx="4896544" cy="4431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="0" i="0" cap="all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FFFFFF">
                  <a:lumMod val="75000"/>
                </a:srgbClr>
              </a:solidFill>
              <a:cs typeface="Lato Light"/>
            </a:endParaRPr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l-PL">
                <a:solidFill>
                  <a:srgbClr val="69737D"/>
                </a:solidFill>
              </a:rPr>
              <a:t>Poufne</a:t>
            </a:r>
            <a:endParaRPr lang="en-US" dirty="0">
              <a:solidFill>
                <a:srgbClr val="69737D"/>
              </a:solidFill>
            </a:endParaRPr>
          </a:p>
        </p:txBody>
      </p:sp>
      <p:grpSp>
        <p:nvGrpSpPr>
          <p:cNvPr id="19" name="Grupa 18">
            <a:extLst>
              <a:ext uri="{FF2B5EF4-FFF2-40B4-BE49-F238E27FC236}">
                <a16:creationId xmlns:a16="http://schemas.microsoft.com/office/drawing/2014/main" id="{C9DF9502-6E9D-4976-9191-22C79E7D8CA4}"/>
              </a:ext>
            </a:extLst>
          </p:cNvPr>
          <p:cNvGrpSpPr/>
          <p:nvPr userDrawn="1"/>
        </p:nvGrpSpPr>
        <p:grpSpPr>
          <a:xfrm>
            <a:off x="-336267" y="1970434"/>
            <a:ext cx="266767" cy="2917133"/>
            <a:chOff x="437456" y="2564505"/>
            <a:chExt cx="266767" cy="2917133"/>
          </a:xfrm>
        </p:grpSpPr>
        <p:sp>
          <p:nvSpPr>
            <p:cNvPr id="20" name="Prostokąt 19">
              <a:extLst>
                <a:ext uri="{FF2B5EF4-FFF2-40B4-BE49-F238E27FC236}">
                  <a16:creationId xmlns:a16="http://schemas.microsoft.com/office/drawing/2014/main" id="{2D9794D7-6350-4B79-88D6-71777661A701}"/>
                </a:ext>
              </a:extLst>
            </p:cNvPr>
            <p:cNvSpPr/>
            <p:nvPr/>
          </p:nvSpPr>
          <p:spPr>
            <a:xfrm>
              <a:off x="437456" y="2564505"/>
              <a:ext cx="266767" cy="29171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pl-PL" sz="1000" dirty="0" err="1">
                <a:latin typeface="Arial Nova" panose="020B0504020202020204" pitchFamily="34" charset="0"/>
              </a:endParaRPr>
            </a:p>
          </p:txBody>
        </p:sp>
        <p:grpSp>
          <p:nvGrpSpPr>
            <p:cNvPr id="21" name="Grupa 20">
              <a:extLst>
                <a:ext uri="{FF2B5EF4-FFF2-40B4-BE49-F238E27FC236}">
                  <a16:creationId xmlns:a16="http://schemas.microsoft.com/office/drawing/2014/main" id="{6BA743A2-5FAE-4A3A-84DC-808D3B5C590B}"/>
                </a:ext>
              </a:extLst>
            </p:cNvPr>
            <p:cNvGrpSpPr/>
            <p:nvPr userDrawn="1"/>
          </p:nvGrpSpPr>
          <p:grpSpPr>
            <a:xfrm>
              <a:off x="472173" y="2599221"/>
              <a:ext cx="197332" cy="2847700"/>
              <a:chOff x="472173" y="2593013"/>
              <a:chExt cx="197332" cy="2847700"/>
            </a:xfrm>
          </p:grpSpPr>
          <p:sp>
            <p:nvSpPr>
              <p:cNvPr id="22" name="Prostokąt 21">
                <a:extLst>
                  <a:ext uri="{FF2B5EF4-FFF2-40B4-BE49-F238E27FC236}">
                    <a16:creationId xmlns:a16="http://schemas.microsoft.com/office/drawing/2014/main" id="{D2875052-6035-4FB9-A8EA-23C4E111CE91}"/>
                  </a:ext>
                </a:extLst>
              </p:cNvPr>
              <p:cNvSpPr/>
              <p:nvPr/>
            </p:nvSpPr>
            <p:spPr>
              <a:xfrm>
                <a:off x="472173" y="2593013"/>
                <a:ext cx="197332" cy="18373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3" name="Prostokąt 22">
                <a:extLst>
                  <a:ext uri="{FF2B5EF4-FFF2-40B4-BE49-F238E27FC236}">
                    <a16:creationId xmlns:a16="http://schemas.microsoft.com/office/drawing/2014/main" id="{8924F222-D3C3-4C12-B1D4-39C41284E484}"/>
                  </a:ext>
                </a:extLst>
              </p:cNvPr>
              <p:cNvSpPr/>
              <p:nvPr/>
            </p:nvSpPr>
            <p:spPr>
              <a:xfrm>
                <a:off x="472173" y="3037007"/>
                <a:ext cx="197332" cy="183739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4" name="Prostokąt 23">
                <a:extLst>
                  <a:ext uri="{FF2B5EF4-FFF2-40B4-BE49-F238E27FC236}">
                    <a16:creationId xmlns:a16="http://schemas.microsoft.com/office/drawing/2014/main" id="{5A35FDD9-A77E-4D69-9779-D33A0112C91F}"/>
                  </a:ext>
                </a:extLst>
              </p:cNvPr>
              <p:cNvSpPr/>
              <p:nvPr/>
            </p:nvSpPr>
            <p:spPr>
              <a:xfrm>
                <a:off x="472173" y="3259004"/>
                <a:ext cx="197332" cy="183739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5" name="Prostokąt 24">
                <a:extLst>
                  <a:ext uri="{FF2B5EF4-FFF2-40B4-BE49-F238E27FC236}">
                    <a16:creationId xmlns:a16="http://schemas.microsoft.com/office/drawing/2014/main" id="{7EE50B6C-96D0-4129-9DA9-8792162FDAF0}"/>
                  </a:ext>
                </a:extLst>
              </p:cNvPr>
              <p:cNvSpPr/>
              <p:nvPr/>
            </p:nvSpPr>
            <p:spPr>
              <a:xfrm>
                <a:off x="472173" y="3481001"/>
                <a:ext cx="197332" cy="18373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6" name="Prostokąt 25">
                <a:extLst>
                  <a:ext uri="{FF2B5EF4-FFF2-40B4-BE49-F238E27FC236}">
                    <a16:creationId xmlns:a16="http://schemas.microsoft.com/office/drawing/2014/main" id="{111256E4-AE63-44A0-9D21-EB14170DF13A}"/>
                  </a:ext>
                </a:extLst>
              </p:cNvPr>
              <p:cNvSpPr/>
              <p:nvPr/>
            </p:nvSpPr>
            <p:spPr>
              <a:xfrm>
                <a:off x="472173" y="4812983"/>
                <a:ext cx="197332" cy="183739"/>
              </a:xfrm>
              <a:prstGeom prst="rect">
                <a:avLst/>
              </a:prstGeom>
              <a:solidFill>
                <a:srgbClr val="FFA8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7" name="Prostokąt 26">
                <a:extLst>
                  <a:ext uri="{FF2B5EF4-FFF2-40B4-BE49-F238E27FC236}">
                    <a16:creationId xmlns:a16="http://schemas.microsoft.com/office/drawing/2014/main" id="{91A6BFE1-DB9A-4FDB-9A41-2ECE69521582}"/>
                  </a:ext>
                </a:extLst>
              </p:cNvPr>
              <p:cNvSpPr/>
              <p:nvPr/>
            </p:nvSpPr>
            <p:spPr>
              <a:xfrm>
                <a:off x="472173" y="5034980"/>
                <a:ext cx="197332" cy="183739"/>
              </a:xfrm>
              <a:prstGeom prst="rect">
                <a:avLst/>
              </a:prstGeom>
              <a:solidFill>
                <a:srgbClr val="FFC5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Prostokąt 27">
                <a:extLst>
                  <a:ext uri="{FF2B5EF4-FFF2-40B4-BE49-F238E27FC236}">
                    <a16:creationId xmlns:a16="http://schemas.microsoft.com/office/drawing/2014/main" id="{611319D2-A132-428D-8D23-1F23B6925CBD}"/>
                  </a:ext>
                </a:extLst>
              </p:cNvPr>
              <p:cNvSpPr/>
              <p:nvPr/>
            </p:nvSpPr>
            <p:spPr>
              <a:xfrm>
                <a:off x="472173" y="5256974"/>
                <a:ext cx="197332" cy="183739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Prostokąt 28">
                <a:extLst>
                  <a:ext uri="{FF2B5EF4-FFF2-40B4-BE49-F238E27FC236}">
                    <a16:creationId xmlns:a16="http://schemas.microsoft.com/office/drawing/2014/main" id="{2AA7FA72-6268-4BB5-8119-B6C33994413B}"/>
                  </a:ext>
                </a:extLst>
              </p:cNvPr>
              <p:cNvSpPr/>
              <p:nvPr userDrawn="1"/>
            </p:nvSpPr>
            <p:spPr>
              <a:xfrm>
                <a:off x="472173" y="4590986"/>
                <a:ext cx="197332" cy="183739"/>
              </a:xfrm>
              <a:prstGeom prst="rect">
                <a:avLst/>
              </a:prstGeom>
              <a:solidFill>
                <a:srgbClr val="FA6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0" name="Prostokąt 29">
                <a:extLst>
                  <a:ext uri="{FF2B5EF4-FFF2-40B4-BE49-F238E27FC236}">
                    <a16:creationId xmlns:a16="http://schemas.microsoft.com/office/drawing/2014/main" id="{99353548-464D-4EC4-9823-BCD85655EDDC}"/>
                  </a:ext>
                </a:extLst>
              </p:cNvPr>
              <p:cNvSpPr/>
              <p:nvPr userDrawn="1"/>
            </p:nvSpPr>
            <p:spPr>
              <a:xfrm>
                <a:off x="472173" y="2815010"/>
                <a:ext cx="197332" cy="183739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1" name="Prostokąt 30">
                <a:extLst>
                  <a:ext uri="{FF2B5EF4-FFF2-40B4-BE49-F238E27FC236}">
                    <a16:creationId xmlns:a16="http://schemas.microsoft.com/office/drawing/2014/main" id="{BC5D8749-4919-4448-A065-D17DB7489935}"/>
                  </a:ext>
                </a:extLst>
              </p:cNvPr>
              <p:cNvSpPr/>
              <p:nvPr userDrawn="1"/>
            </p:nvSpPr>
            <p:spPr>
              <a:xfrm>
                <a:off x="472173" y="3924995"/>
                <a:ext cx="197332" cy="183739"/>
              </a:xfrm>
              <a:prstGeom prst="rect">
                <a:avLst/>
              </a:prstGeom>
              <a:solidFill>
                <a:srgbClr val="D0C5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2" name="Prostokąt 31">
                <a:extLst>
                  <a:ext uri="{FF2B5EF4-FFF2-40B4-BE49-F238E27FC236}">
                    <a16:creationId xmlns:a16="http://schemas.microsoft.com/office/drawing/2014/main" id="{DFCF2265-634D-4960-A92E-46629BCC9C8B}"/>
                  </a:ext>
                </a:extLst>
              </p:cNvPr>
              <p:cNvSpPr/>
              <p:nvPr userDrawn="1"/>
            </p:nvSpPr>
            <p:spPr>
              <a:xfrm>
                <a:off x="472173" y="4146992"/>
                <a:ext cx="197332" cy="183739"/>
              </a:xfrm>
              <a:prstGeom prst="rect">
                <a:avLst/>
              </a:prstGeom>
              <a:solidFill>
                <a:srgbClr val="D0C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3" name="Prostokąt 32">
                <a:extLst>
                  <a:ext uri="{FF2B5EF4-FFF2-40B4-BE49-F238E27FC236}">
                    <a16:creationId xmlns:a16="http://schemas.microsoft.com/office/drawing/2014/main" id="{3D06FC45-1366-4132-86C9-34DB991EE331}"/>
                  </a:ext>
                </a:extLst>
              </p:cNvPr>
              <p:cNvSpPr/>
              <p:nvPr userDrawn="1"/>
            </p:nvSpPr>
            <p:spPr>
              <a:xfrm>
                <a:off x="472173" y="4368989"/>
                <a:ext cx="197332" cy="183739"/>
              </a:xfrm>
              <a:prstGeom prst="rect">
                <a:avLst/>
              </a:prstGeom>
              <a:solidFill>
                <a:srgbClr val="E3D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4" name="Prostokąt 33">
                <a:extLst>
                  <a:ext uri="{FF2B5EF4-FFF2-40B4-BE49-F238E27FC236}">
                    <a16:creationId xmlns:a16="http://schemas.microsoft.com/office/drawing/2014/main" id="{ED0B2C28-8306-4780-8F6C-2CB4C97F4292}"/>
                  </a:ext>
                </a:extLst>
              </p:cNvPr>
              <p:cNvSpPr/>
              <p:nvPr userDrawn="1"/>
            </p:nvSpPr>
            <p:spPr>
              <a:xfrm>
                <a:off x="472173" y="3702998"/>
                <a:ext cx="197332" cy="183739"/>
              </a:xfrm>
              <a:prstGeom prst="rect">
                <a:avLst/>
              </a:prstGeom>
              <a:solidFill>
                <a:srgbClr val="B0AC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468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/>
  <p:txStyles>
    <p:titleStyle>
      <a:lvl1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700" b="0" i="0" cap="all">
          <a:solidFill>
            <a:schemeClr val="tx1"/>
          </a:solidFill>
          <a:latin typeface="Arial Nova" panose="020B0504020202020204" pitchFamily="34" charset="0"/>
          <a:ea typeface="+mj-ea"/>
          <a:cs typeface="Lato Light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800" b="0">
          <a:solidFill>
            <a:schemeClr val="tx1"/>
          </a:solidFill>
          <a:latin typeface="Lato Regular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FD3AC5F-D9D5-4E0F-8097-619999A1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28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463064B6-D05A-4B20-A641-04861C1698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1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D9A62773-B383-424A-AD52-6AAB96AFC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7B55473A-0A0D-FBB9-13C1-F38196E7C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724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1C9493-19BA-0E23-B705-5A07AC595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6B229C7-9385-DC90-B2D3-3D177A379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>
            <a:extLst>
              <a:ext uri="{FF2B5EF4-FFF2-40B4-BE49-F238E27FC236}">
                <a16:creationId xmlns:a16="http://schemas.microsoft.com/office/drawing/2014/main" id="{A42B1BB9-785E-14B0-5A22-0862FF4DC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8DA5E930-4EBA-996A-9925-8CA6BC75A19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2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B5007B22-8DAA-16B5-6CE8-37973069BE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CD7651F9-2E9B-40A4-9547-8588549F7C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660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E22A01-56C4-7E31-B781-03CB78151E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8610A55E-1ADF-78A9-EDF6-96B910EFD8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>
            <a:extLst>
              <a:ext uri="{FF2B5EF4-FFF2-40B4-BE49-F238E27FC236}">
                <a16:creationId xmlns:a16="http://schemas.microsoft.com/office/drawing/2014/main" id="{1FF6D6ED-11D6-232B-480A-6E627F2D0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61887225-3D32-98E9-A996-9BD77F3F308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3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25851B25-E504-7D3D-161E-8C7691CA40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583BBD8F-FB1C-EFCF-EB35-B041807E3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173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E1CF9B-7F38-56EE-A87F-2408ED3886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95DA49F-46C6-657C-02CC-FD1130AA0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>
            <a:extLst>
              <a:ext uri="{FF2B5EF4-FFF2-40B4-BE49-F238E27FC236}">
                <a16:creationId xmlns:a16="http://schemas.microsoft.com/office/drawing/2014/main" id="{389F0DD5-7060-FC5F-3EAB-1CCA27F8E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F8496294-E6DD-23C2-E6E8-889EDA0F24F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4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B44CAA88-6B23-4627-E71A-9713C2204E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57C61C80-A68A-1256-2F9A-8CDD6DD594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957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26437534212184221616E+00&quot;&gt;&lt;m_msothmcolidx val=&quot;0&quot;/&gt;&lt;m_rgb r=&quot;FF&quot; g=&quot;C5&quot; b=&quot;97&quot;/&gt;&lt;/elem&gt;&lt;elem m_fUsage=&quot;1.12074863358577569983E+00&quot;&gt;&lt;m_msothmcolidx val=&quot;0&quot;/&gt;&lt;m_rgb r=&quot;FF&quot; g=&quot;E2&quot; b=&quot;CB&quot;/&gt;&lt;/elem&gt;&lt;elem m_fUsage=&quot;5.31441000000000163261E-01&quot;&gt;&lt;m_msothmcolidx val=&quot;0&quot;/&gt;&lt;m_rgb r=&quot;FF&quot; g=&quot;A8&quot; b=&quot;63&quot;/&gt;&lt;/elem&gt;&lt;elem m_fUsage=&quot;4.78296900000000135833E-01&quot;&gt;&lt;m_msothmcolidx val=&quot;0&quot;/&gt;&lt;m_rgb r=&quot;28&quot; g=&quot;9B&quot; b=&quot;38&quot;/&gt;&lt;/elem&gt;&lt;elem m_fUsage=&quot;3.52073835881849872553E-01&quot;&gt;&lt;m_msothmcolidx val=&quot;0&quot;/&gt;&lt;m_rgb r=&quot;F2&quot; g=&quot;F2&quot; b=&quot;F2&quot;/&gt;&lt;/elem&gt;&lt;elem m_fUsage=&quot;2.48571725515360442138E-01&quot;&gt;&lt;m_msothmcolidx val=&quot;0&quot;/&gt;&lt;m_rgb r=&quot;C0&quot; g=&quot;C6&quot; b=&quot;CB&quot;/&gt;&lt;/elem&gt;&lt;elem m_fUsage=&quot;2.24968689623821799239E-01&quot;&gt;&lt;m_msothmcolidx val=&quot;0&quot;/&gt;&lt;m_rgb r=&quot;69&quot; g=&quot;73&quot; b=&quot;7D&quot;/&gt;&lt;/elem&gt;&lt;elem m_fUsage=&quot;2.05891132094649098594E-01&quot;&gt;&lt;m_msothmcolidx val=&quot;0&quot;/&gt;&lt;m_rgb r=&quot;A4&quot; g=&quot;AB&quot; b=&quot;B2&quot;/&gt;&lt;/elem&gt;&lt;elem m_fUsage=&quot;1.35085171767299283552E-01&quot;&gt;&lt;m_msothmcolidx val=&quot;0&quot;/&gt;&lt;m_rgb r=&quot;DC&quot; g=&quot;DF&quot; b=&quot;E2&quot;/&gt;&lt;/elem&gt;&lt;elem m_fUsage=&quot;8.86293811965250810658E-02&quot;&gt;&lt;m_msothmcolidx val=&quot;0&quot;/&gt;&lt;m_rgb r=&quot;D9&quot; g=&quot;D9&quot; b=&quot;D9&quot;/&gt;&lt;/elem&gt;&lt;elem m_fUsage=&quot;7.17897987691853145531E-02&quot;&gt;&lt;m_msothmcolidx val=&quot;0&quot;/&gt;&lt;m_rgb r=&quot;E9&quot; g=&quot;E4&quot; b=&quot;E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format">
  <a:themeElements>
    <a:clrScheme name="Niestandardowe 3">
      <a:dk1>
        <a:srgbClr val="69737D"/>
      </a:dk1>
      <a:lt1>
        <a:srgbClr val="FFFFFF"/>
      </a:lt1>
      <a:dk2>
        <a:srgbClr val="FA6E00"/>
      </a:dk2>
      <a:lt2>
        <a:srgbClr val="F1EEEB"/>
      </a:lt2>
      <a:accent1>
        <a:srgbClr val="BEC3C8"/>
      </a:accent1>
      <a:accent2>
        <a:srgbClr val="D0C5B9"/>
      </a:accent2>
      <a:accent3>
        <a:srgbClr val="FFFFFF"/>
      </a:accent3>
      <a:accent4>
        <a:srgbClr val="B0ACA3"/>
      </a:accent4>
      <a:accent5>
        <a:srgbClr val="DBDEE0"/>
      </a:accent5>
      <a:accent6>
        <a:srgbClr val="A14C11"/>
      </a:accent6>
      <a:hlink>
        <a:srgbClr val="59616A"/>
      </a:hlink>
      <a:folHlink>
        <a:srgbClr val="A14C11"/>
      </a:folHlink>
    </a:clrScheme>
    <a:fontScheme name="Presentation format">
      <a:majorFont>
        <a:latin typeface="GillSans"/>
        <a:ea typeface=""/>
        <a:cs typeface=""/>
      </a:majorFont>
      <a:minorFont>
        <a:latin typeface="Gill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forma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3">
        <a:dk1>
          <a:srgbClr val="69737D"/>
        </a:dk1>
        <a:lt1>
          <a:srgbClr val="FFFFFF"/>
        </a:lt1>
        <a:dk2>
          <a:srgbClr val="69737D"/>
        </a:dk2>
        <a:lt2>
          <a:srgbClr val="FA6E00"/>
        </a:lt2>
        <a:accent1>
          <a:srgbClr val="BEC3C8"/>
        </a:accent1>
        <a:accent2>
          <a:srgbClr val="333399"/>
        </a:accent2>
        <a:accent3>
          <a:srgbClr val="FFFFFF"/>
        </a:accent3>
        <a:accent4>
          <a:srgbClr val="59616A"/>
        </a:accent4>
        <a:accent5>
          <a:srgbClr val="DBDEE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b6e9a0-c0ba-476b-ab2f-48e5eaabbf35" xsi:nil="true"/>
    <lcf76f155ced4ddcb4097134ff3c332f xmlns="7981c856-6893-4537-aced-09306f47de5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982BA086FA9448DC2152B021F1F30" ma:contentTypeVersion="17" ma:contentTypeDescription="Create a new document." ma:contentTypeScope="" ma:versionID="d093cb8deb3f30193f2a31882015ed9c">
  <xsd:schema xmlns:xsd="http://www.w3.org/2001/XMLSchema" xmlns:xs="http://www.w3.org/2001/XMLSchema" xmlns:p="http://schemas.microsoft.com/office/2006/metadata/properties" xmlns:ns2="7981c856-6893-4537-aced-09306f47de5a" xmlns:ns3="afb6e9a0-c0ba-476b-ab2f-48e5eaabbf35" targetNamespace="http://schemas.microsoft.com/office/2006/metadata/properties" ma:root="true" ma:fieldsID="785176b391cd73b55322ce85afb4b37a" ns2:_="" ns3:_="">
    <xsd:import namespace="7981c856-6893-4537-aced-09306f47de5a"/>
    <xsd:import namespace="afb6e9a0-c0ba-476b-ab2f-48e5eaabbf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81c856-6893-4537-aced-09306f47de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6a7c8-eadd-4890-835b-f1f8ea6839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6e9a0-c0ba-476b-ab2f-48e5eaabbf3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750bd2d-76a5-47e0-8b49-daef66cdd22a}" ma:internalName="TaxCatchAll" ma:showField="CatchAllData" ma:web="afb6e9a0-c0ba-476b-ab2f-48e5eaabbf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5EB7AE-9A50-451D-A03E-162B058347F2}">
  <ds:schemaRefs>
    <ds:schemaRef ds:uri="http://purl.org/dc/elements/1.1/"/>
    <ds:schemaRef ds:uri="http://purl.org/dc/terms/"/>
    <ds:schemaRef ds:uri="http://schemas.microsoft.com/office/2006/metadata/properties"/>
    <ds:schemaRef ds:uri="9f28c71e-b1c6-4172-9047-ab801b25674a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afb6e9a0-c0ba-476b-ab2f-48e5eaabbf35"/>
    <ds:schemaRef ds:uri="7981c856-6893-4537-aced-09306f47de5a"/>
  </ds:schemaRefs>
</ds:datastoreItem>
</file>

<file path=customXml/itemProps2.xml><?xml version="1.0" encoding="utf-8"?>
<ds:datastoreItem xmlns:ds="http://schemas.openxmlformats.org/officeDocument/2006/customXml" ds:itemID="{457E7BB2-16FE-47DD-8D2B-F90679E0BC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81c856-6893-4537-aced-09306f47de5a"/>
    <ds:schemaRef ds:uri="afb6e9a0-c0ba-476b-ab2f-48e5eaabbf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4411F68-659B-4085-97A3-1CCA94B361B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40</TotalTime>
  <Words>40</Words>
  <Application>Microsoft Macintosh PowerPoint</Application>
  <PresentationFormat>A4 Paper (210x297 mm)</PresentationFormat>
  <Paragraphs>2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Arial Nova</vt:lpstr>
      <vt:lpstr>Calibri</vt:lpstr>
      <vt:lpstr>GillSans</vt:lpstr>
      <vt:lpstr>Lato Black</vt:lpstr>
      <vt:lpstr>Lato Light</vt:lpstr>
      <vt:lpstr>Lato Regular</vt:lpstr>
      <vt:lpstr>Presentation format</vt:lpstr>
      <vt:lpstr>think-cell Slide</vt:lpstr>
      <vt:lpstr>STRIPS</vt:lpstr>
      <vt:lpstr>STRIPS</vt:lpstr>
      <vt:lpstr>STRIPS</vt:lpstr>
      <vt:lpstr>STRI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FIDEA</dc:creator>
  <cp:lastModifiedBy>Bartek Dysarski</cp:lastModifiedBy>
  <cp:revision>1723</cp:revision>
  <cp:lastPrinted>2023-04-04T11:49:11Z</cp:lastPrinted>
  <dcterms:created xsi:type="dcterms:W3CDTF">2017-11-27T16:51:39Z</dcterms:created>
  <dcterms:modified xsi:type="dcterms:W3CDTF">2025-06-05T16:3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6982BA086FA9448DC2152B021F1F30</vt:lpwstr>
  </property>
  <property fmtid="{D5CDD505-2E9C-101B-9397-08002B2CF9AE}" pid="3" name="Order">
    <vt:r8>621400</vt:r8>
  </property>
  <property fmtid="{D5CDD505-2E9C-101B-9397-08002B2CF9AE}" pid="4" name="MediaServiceImageTags">
    <vt:lpwstr/>
  </property>
</Properties>
</file>